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35" autoAdjust="0"/>
    <p:restoredTop sz="92185" autoAdjust="0"/>
  </p:normalViewPr>
  <p:slideViewPr>
    <p:cSldViewPr snapToGrid="0" snapToObjects="1">
      <p:cViewPr varScale="1">
        <p:scale>
          <a:sx n="109" d="100"/>
          <a:sy n="109" d="100"/>
        </p:scale>
        <p:origin x="810" y="102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2600000"/>
            <a:gd name="adj2" fmla="val 16200000"/>
            <a:gd name="adj3" fmla="val 4487"/>
          </a:avLst>
        </a:prstGeom>
        <a:solidFill>
          <a:schemeClr val="accent5">
            <a:shade val="90000"/>
            <a:hueOff val="-823573"/>
            <a:satOff val="-76963"/>
            <a:lumOff val="495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9000000"/>
            <a:gd name="adj2" fmla="val 12600000"/>
            <a:gd name="adj3" fmla="val 4487"/>
          </a:avLst>
        </a:prstGeom>
        <a:solidFill>
          <a:schemeClr val="accent5">
            <a:shade val="90000"/>
            <a:hueOff val="-658858"/>
            <a:satOff val="-61570"/>
            <a:lumOff val="396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5400000"/>
            <a:gd name="adj2" fmla="val 9000000"/>
            <a:gd name="adj3" fmla="val 4487"/>
          </a:avLst>
        </a:prstGeom>
        <a:solidFill>
          <a:schemeClr val="accent5">
            <a:shade val="90000"/>
            <a:hueOff val="-494144"/>
            <a:satOff val="-46178"/>
            <a:lumOff val="2971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800000"/>
            <a:gd name="adj2" fmla="val 5400000"/>
            <a:gd name="adj3" fmla="val 4487"/>
          </a:avLst>
        </a:prstGeom>
        <a:solidFill>
          <a:schemeClr val="accent5">
            <a:shade val="90000"/>
            <a:hueOff val="-329429"/>
            <a:satOff val="-30785"/>
            <a:lumOff val="198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9800000"/>
            <a:gd name="adj2" fmla="val 1800000"/>
            <a:gd name="adj3" fmla="val 4487"/>
          </a:avLst>
        </a:prstGeom>
        <a:solidFill>
          <a:schemeClr val="accent5">
            <a:shade val="90000"/>
            <a:hueOff val="-164715"/>
            <a:satOff val="-15393"/>
            <a:lumOff val="99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6200000"/>
            <a:gd name="adj2" fmla="val 19800000"/>
            <a:gd name="adj3" fmla="val 4487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261673" y="789673"/>
          <a:ext cx="832377" cy="832377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>
              <a:latin typeface="Simplon BP Regular" pitchFamily="2" charset="0"/>
            </a:rPr>
            <a:t>FMS</a:t>
          </a:r>
          <a:endParaRPr lang="pt-BR" sz="2300" kern="1200" dirty="0">
            <a:latin typeface="Simplon BP Regular" pitchFamily="2" charset="0"/>
          </a:endParaRPr>
        </a:p>
      </dsp:txBody>
      <dsp:txXfrm>
        <a:off x="1383572" y="911572"/>
        <a:ext cx="588579" cy="588579"/>
      </dsp:txXfrm>
    </dsp:sp>
    <dsp:sp modelId="{2B4CAB2E-1A0B-4830-9298-A4369C6FF292}">
      <dsp:nvSpPr>
        <dsp:cNvPr id="0" name=""/>
        <dsp:cNvSpPr/>
      </dsp:nvSpPr>
      <dsp:spPr>
        <a:xfrm>
          <a:off x="1386530" y="62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DIGITAL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85958"/>
        <a:ext cx="412005" cy="412005"/>
      </dsp:txXfrm>
    </dsp:sp>
    <dsp:sp modelId="{8D551815-3B6C-4805-8952-F91BF108D8F5}">
      <dsp:nvSpPr>
        <dsp:cNvPr id="0" name=""/>
        <dsp:cNvSpPr/>
      </dsp:nvSpPr>
      <dsp:spPr>
        <a:xfrm>
          <a:off x="2177991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VENDAS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542908"/>
        <a:ext cx="412005" cy="412005"/>
      </dsp:txXfrm>
    </dsp:sp>
    <dsp:sp modelId="{E96ED2BC-7F66-49BF-87BF-4063B76ECCE1}">
      <dsp:nvSpPr>
        <dsp:cNvPr id="0" name=""/>
        <dsp:cNvSpPr/>
      </dsp:nvSpPr>
      <dsp:spPr>
        <a:xfrm>
          <a:off x="2177991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ATIVAÇÂO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1456809"/>
        <a:ext cx="412005" cy="412005"/>
      </dsp:txXfrm>
    </dsp:sp>
    <dsp:sp modelId="{B97EF70B-6154-410F-985C-9C1FE38BB469}">
      <dsp:nvSpPr>
        <dsp:cNvPr id="0" name=""/>
        <dsp:cNvSpPr/>
      </dsp:nvSpPr>
      <dsp:spPr>
        <a:xfrm>
          <a:off x="1386530" y="182843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CRÉDITO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1913759"/>
        <a:ext cx="412005" cy="412005"/>
      </dsp:txXfrm>
    </dsp:sp>
    <dsp:sp modelId="{FAEA06C7-9021-4548-862C-93C9F1ADC6E4}">
      <dsp:nvSpPr>
        <dsp:cNvPr id="0" name=""/>
        <dsp:cNvSpPr/>
      </dsp:nvSpPr>
      <dsp:spPr>
        <a:xfrm>
          <a:off x="595069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SEGINF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1456809"/>
        <a:ext cx="412005" cy="412005"/>
      </dsp:txXfrm>
    </dsp:sp>
    <dsp:sp modelId="{20365B38-D7BF-4500-88FE-AF174FA7A1EE}">
      <dsp:nvSpPr>
        <dsp:cNvPr id="0" name=""/>
        <dsp:cNvSpPr/>
      </dsp:nvSpPr>
      <dsp:spPr>
        <a:xfrm>
          <a:off x="595069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JEC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542908"/>
        <a:ext cx="412005" cy="412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31275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Setup inicial do Projeto RAID-FMS</a:t>
          </a:r>
          <a:endParaRPr lang="pt-BR" sz="1300" kern="1200" dirty="0">
            <a:latin typeface="Simplon BP Regular" pitchFamily="2" charset="0"/>
          </a:endParaRPr>
        </a:p>
      </dsp:txBody>
      <dsp:txXfrm>
        <a:off x="431275" y="697295"/>
        <a:ext cx="1509521" cy="727472"/>
      </dsp:txXfrm>
    </dsp:sp>
    <dsp:sp modelId="{988C035B-BE7B-49C8-9002-27080AEB6D54}">
      <dsp:nvSpPr>
        <dsp:cNvPr id="0" name=""/>
        <dsp:cNvSpPr/>
      </dsp:nvSpPr>
      <dsp:spPr>
        <a:xfrm>
          <a:off x="1309182" y="1979208"/>
          <a:ext cx="630303" cy="630303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62674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rquitetura física </a:t>
          </a:r>
          <a:endParaRPr lang="pt-BR" sz="1300" kern="1200" dirty="0">
            <a:latin typeface="Simplon BP Regular" pitchFamily="2" charset="0"/>
          </a:endParaRPr>
        </a:p>
      </dsp:txBody>
      <dsp:txXfrm>
        <a:off x="562674" y="2856490"/>
        <a:ext cx="1305806" cy="629611"/>
      </dsp:txXfrm>
    </dsp:sp>
    <dsp:sp modelId="{28CB7A41-49F4-4D56-842A-D68F369A6307}">
      <dsp:nvSpPr>
        <dsp:cNvPr id="0" name=""/>
        <dsp:cNvSpPr/>
      </dsp:nvSpPr>
      <dsp:spPr>
        <a:xfrm rot="17700000">
          <a:off x="1380187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2030854" y="1979208"/>
          <a:ext cx="630303" cy="630303"/>
        </a:xfrm>
        <a:prstGeom prst="ellipse">
          <a:avLst/>
        </a:prstGeom>
        <a:solidFill>
          <a:schemeClr val="accent6">
            <a:shade val="80000"/>
            <a:hueOff val="62227"/>
            <a:satOff val="-4236"/>
            <a:lumOff val="5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28434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NDS e </a:t>
          </a:r>
          <a:r>
            <a:rPr lang="pt-BR" sz="1300" kern="1200" dirty="0" err="1" smtClean="0">
              <a:latin typeface="Simplon BP Regular" pitchFamily="2" charset="0"/>
            </a:rPr>
            <a:t>Compliance</a:t>
          </a:r>
          <a:r>
            <a:rPr lang="pt-BR" sz="1300" kern="1200" dirty="0" smtClean="0">
              <a:latin typeface="Simplon BP Regular" pitchFamily="2" charset="0"/>
            </a:rPr>
            <a:t> SI</a:t>
          </a:r>
          <a:endParaRPr lang="pt-BR" sz="1300" kern="1200" dirty="0">
            <a:latin typeface="Simplon BP Regular" pitchFamily="2" charset="0"/>
          </a:endParaRPr>
        </a:p>
      </dsp:txBody>
      <dsp:txXfrm>
        <a:off x="1284346" y="2856490"/>
        <a:ext cx="1305806" cy="629611"/>
      </dsp:txXfrm>
    </dsp:sp>
    <dsp:sp modelId="{A1AA65C6-9A13-4697-920B-109CDD4DDA94}">
      <dsp:nvSpPr>
        <dsp:cNvPr id="0" name=""/>
        <dsp:cNvSpPr/>
      </dsp:nvSpPr>
      <dsp:spPr>
        <a:xfrm rot="17700000">
          <a:off x="2101859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752527" y="1979208"/>
          <a:ext cx="630303" cy="630303"/>
        </a:xfrm>
        <a:prstGeom prst="ellipse">
          <a:avLst/>
        </a:prstGeom>
        <a:solidFill>
          <a:schemeClr val="accent6">
            <a:shade val="80000"/>
            <a:hueOff val="124455"/>
            <a:satOff val="-8471"/>
            <a:lumOff val="1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2006019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2006019" y="2856490"/>
        <a:ext cx="1305806" cy="629611"/>
      </dsp:txXfrm>
    </dsp:sp>
    <dsp:sp modelId="{E0FD4796-E7AB-488D-9336-DB3CCBEFE335}">
      <dsp:nvSpPr>
        <dsp:cNvPr id="0" name=""/>
        <dsp:cNvSpPr/>
      </dsp:nvSpPr>
      <dsp:spPr>
        <a:xfrm rot="17700000">
          <a:off x="2823531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474199" y="1979208"/>
          <a:ext cx="630303" cy="630303"/>
        </a:xfrm>
        <a:prstGeom prst="ellipse">
          <a:avLst/>
        </a:prstGeom>
        <a:solidFill>
          <a:schemeClr val="accent6">
            <a:shade val="80000"/>
            <a:hueOff val="186682"/>
            <a:satOff val="-12707"/>
            <a:lumOff val="150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727691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727691" y="2856490"/>
        <a:ext cx="1305806" cy="629611"/>
      </dsp:txXfrm>
    </dsp:sp>
    <dsp:sp modelId="{0566B732-D545-48BE-881E-52A791DA4ABA}">
      <dsp:nvSpPr>
        <dsp:cNvPr id="0" name=""/>
        <dsp:cNvSpPr/>
      </dsp:nvSpPr>
      <dsp:spPr>
        <a:xfrm rot="17700000">
          <a:off x="3545204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195968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623836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rograma 1 Cadastro/Subscrição e Score externo</a:t>
          </a:r>
          <a:endParaRPr lang="pt-BR" sz="1300" kern="1200" dirty="0">
            <a:latin typeface="Simplon BP Regular" pitchFamily="2" charset="0"/>
          </a:endParaRPr>
        </a:p>
      </dsp:txBody>
      <dsp:txXfrm>
        <a:off x="4623836" y="697295"/>
        <a:ext cx="1509521" cy="727472"/>
      </dsp:txXfrm>
    </dsp:sp>
    <dsp:sp modelId="{8DBDFD54-FA06-4E78-B1F9-B5C24B106AA5}">
      <dsp:nvSpPr>
        <dsp:cNvPr id="0" name=""/>
        <dsp:cNvSpPr/>
      </dsp:nvSpPr>
      <dsp:spPr>
        <a:xfrm>
          <a:off x="5501744" y="1979208"/>
          <a:ext cx="630303" cy="630303"/>
        </a:xfrm>
        <a:prstGeom prst="ellipse">
          <a:avLst/>
        </a:prstGeom>
        <a:solidFill>
          <a:schemeClr val="accent6">
            <a:shade val="80000"/>
            <a:hueOff val="248909"/>
            <a:satOff val="-16942"/>
            <a:lumOff val="200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75523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4755236" y="2856490"/>
        <a:ext cx="1305806" cy="629611"/>
      </dsp:txXfrm>
    </dsp:sp>
    <dsp:sp modelId="{B8523729-5ED9-4781-9993-ED44EE714E76}">
      <dsp:nvSpPr>
        <dsp:cNvPr id="0" name=""/>
        <dsp:cNvSpPr/>
      </dsp:nvSpPr>
      <dsp:spPr>
        <a:xfrm rot="17700000">
          <a:off x="5572748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6223416" y="1979208"/>
          <a:ext cx="630303" cy="630303"/>
        </a:xfrm>
        <a:prstGeom prst="ellipse">
          <a:avLst/>
        </a:prstGeom>
        <a:solidFill>
          <a:schemeClr val="accent6">
            <a:shade val="80000"/>
            <a:hueOff val="311137"/>
            <a:satOff val="-21178"/>
            <a:lumOff val="250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476908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Fixo R2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5476908" y="2856490"/>
        <a:ext cx="1305806" cy="629611"/>
      </dsp:txXfrm>
    </dsp:sp>
    <dsp:sp modelId="{9D3D5B97-3DE5-4600-B2D0-2F52A3508BAB}">
      <dsp:nvSpPr>
        <dsp:cNvPr id="0" name=""/>
        <dsp:cNvSpPr/>
      </dsp:nvSpPr>
      <dsp:spPr>
        <a:xfrm rot="17700000">
          <a:off x="6294420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945088" y="1979208"/>
          <a:ext cx="630303" cy="630303"/>
        </a:xfrm>
        <a:prstGeom prst="ellipse">
          <a:avLst/>
        </a:prstGeom>
        <a:solidFill>
          <a:schemeClr val="accent6">
            <a:shade val="80000"/>
            <a:hueOff val="373364"/>
            <a:satOff val="-25413"/>
            <a:lumOff val="300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6198580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198580" y="2856490"/>
        <a:ext cx="1305806" cy="629611"/>
      </dsp:txXfrm>
    </dsp:sp>
    <dsp:sp modelId="{2BF1D30D-A645-461B-8B53-6D37647F8F3F}">
      <dsp:nvSpPr>
        <dsp:cNvPr id="0" name=""/>
        <dsp:cNvSpPr/>
      </dsp:nvSpPr>
      <dsp:spPr>
        <a:xfrm rot="17700000">
          <a:off x="7016093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666761" y="1979208"/>
          <a:ext cx="630303" cy="630303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920253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...</a:t>
          </a:r>
          <a:endParaRPr lang="pt-BR" sz="1300" kern="1200" dirty="0">
            <a:latin typeface="Simplon BP Regular" pitchFamily="2" charset="0"/>
          </a:endParaRPr>
        </a:p>
      </dsp:txBody>
      <dsp:txXfrm>
        <a:off x="6920253" y="2856490"/>
        <a:ext cx="1305806" cy="629611"/>
      </dsp:txXfrm>
    </dsp:sp>
    <dsp:sp modelId="{0B76364A-724C-4D60-B742-8B2007D3D83F}">
      <dsp:nvSpPr>
        <dsp:cNvPr id="0" name=""/>
        <dsp:cNvSpPr/>
      </dsp:nvSpPr>
      <dsp:spPr>
        <a:xfrm rot="17700000">
          <a:off x="7737765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373" y="0"/>
          <a:ext cx="6130040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2601" y="0"/>
        <a:ext cx="5665584" cy="464456"/>
      </dsp:txXfrm>
    </dsp:sp>
    <dsp:sp modelId="{0550EBE2-3CC1-4770-9B02-DDFB5E793DEB}">
      <dsp:nvSpPr>
        <dsp:cNvPr id="0" name=""/>
        <dsp:cNvSpPr/>
      </dsp:nvSpPr>
      <dsp:spPr>
        <a:xfrm>
          <a:off x="5868021" y="0"/>
          <a:ext cx="2883719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6100249" y="0"/>
        <a:ext cx="2419263" cy="4644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398687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Setup inicial do Projeto RAID-FMS</a:t>
          </a:r>
          <a:endParaRPr lang="pt-BR" sz="1200" kern="1200" dirty="0">
            <a:latin typeface="Simplon BP Regular" pitchFamily="2" charset="0"/>
          </a:endParaRPr>
        </a:p>
      </dsp:txBody>
      <dsp:txXfrm>
        <a:off x="398687" y="798764"/>
        <a:ext cx="1397092" cy="673290"/>
      </dsp:txXfrm>
    </dsp:sp>
    <dsp:sp modelId="{988C035B-BE7B-49C8-9002-27080AEB6D54}">
      <dsp:nvSpPr>
        <dsp:cNvPr id="0" name=""/>
        <dsp:cNvSpPr/>
      </dsp:nvSpPr>
      <dsp:spPr>
        <a:xfrm>
          <a:off x="1211208" y="1985200"/>
          <a:ext cx="583358" cy="583358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203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Arquitetura física </a:t>
          </a:r>
          <a:endParaRPr lang="pt-BR" sz="1200" kern="1200" dirty="0">
            <a:latin typeface="Simplon BP Regular" pitchFamily="2" charset="0"/>
          </a:endParaRPr>
        </a:p>
      </dsp:txBody>
      <dsp:txXfrm>
        <a:off x="520300" y="2797143"/>
        <a:ext cx="1208550" cy="582717"/>
      </dsp:txXfrm>
    </dsp:sp>
    <dsp:sp modelId="{28CB7A41-49F4-4D56-842A-D68F369A6307}">
      <dsp:nvSpPr>
        <dsp:cNvPr id="0" name=""/>
        <dsp:cNvSpPr/>
      </dsp:nvSpPr>
      <dsp:spPr>
        <a:xfrm rot="17700000">
          <a:off x="127692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1879130" y="1985200"/>
          <a:ext cx="583358" cy="583358"/>
        </a:xfrm>
        <a:prstGeom prst="ellipse">
          <a:avLst/>
        </a:prstGeom>
        <a:solidFill>
          <a:schemeClr val="accent6">
            <a:shade val="80000"/>
            <a:hueOff val="54449"/>
            <a:satOff val="-3706"/>
            <a:lumOff val="4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188222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NDS e </a:t>
          </a:r>
          <a:r>
            <a:rPr lang="pt-BR" sz="1200" kern="1200" dirty="0" err="1" smtClean="0">
              <a:latin typeface="Simplon BP Regular" pitchFamily="2" charset="0"/>
            </a:rPr>
            <a:t>Compliance</a:t>
          </a:r>
          <a:r>
            <a:rPr lang="pt-BR" sz="1200" kern="1200" dirty="0" smtClean="0">
              <a:latin typeface="Simplon BP Regular" pitchFamily="2" charset="0"/>
            </a:rPr>
            <a:t> SI</a:t>
          </a:r>
          <a:endParaRPr lang="pt-BR" sz="1200" kern="1200" dirty="0">
            <a:latin typeface="Simplon BP Regular" pitchFamily="2" charset="0"/>
          </a:endParaRPr>
        </a:p>
      </dsp:txBody>
      <dsp:txXfrm>
        <a:off x="1188222" y="2797143"/>
        <a:ext cx="1208550" cy="582717"/>
      </dsp:txXfrm>
    </dsp:sp>
    <dsp:sp modelId="{A1AA65C6-9A13-4697-920B-109CDD4DDA94}">
      <dsp:nvSpPr>
        <dsp:cNvPr id="0" name=""/>
        <dsp:cNvSpPr/>
      </dsp:nvSpPr>
      <dsp:spPr>
        <a:xfrm rot="17700000">
          <a:off x="19448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5470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108898"/>
            <a:satOff val="-7412"/>
            <a:lumOff val="87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8561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Instalação FMS </a:t>
          </a:r>
          <a:r>
            <a:rPr lang="pt-BR" sz="1200" kern="1200" dirty="0" err="1" smtClean="0">
              <a:latin typeface="Simplon BP Regular" pitchFamily="2" charset="0"/>
            </a:rPr>
            <a:t>vanila</a:t>
          </a:r>
          <a:endParaRPr lang="pt-BR" sz="1200" kern="1200" dirty="0">
            <a:latin typeface="Simplon BP Regular" pitchFamily="2" charset="0"/>
          </a:endParaRPr>
        </a:p>
      </dsp:txBody>
      <dsp:txXfrm>
        <a:off x="1856145" y="2797143"/>
        <a:ext cx="1208550" cy="582717"/>
      </dsp:txXfrm>
    </dsp:sp>
    <dsp:sp modelId="{E0FD4796-E7AB-488D-9336-DB3CCBEFE335}">
      <dsp:nvSpPr>
        <dsp:cNvPr id="0" name=""/>
        <dsp:cNvSpPr/>
      </dsp:nvSpPr>
      <dsp:spPr>
        <a:xfrm rot="17700000">
          <a:off x="2612769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214975" y="1985200"/>
          <a:ext cx="583358" cy="583358"/>
        </a:xfrm>
        <a:prstGeom prst="ellipse">
          <a:avLst/>
        </a:prstGeom>
        <a:solidFill>
          <a:schemeClr val="accent6">
            <a:shade val="80000"/>
            <a:hueOff val="163347"/>
            <a:satOff val="-11118"/>
            <a:lumOff val="131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524067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lanejamento, </a:t>
          </a:r>
          <a:r>
            <a:rPr lang="pt-BR" sz="1200" kern="1200" dirty="0" err="1" smtClean="0">
              <a:latin typeface="Simplon BP Regular" pitchFamily="2" charset="0"/>
            </a:rPr>
            <a:t>scoping</a:t>
          </a:r>
          <a:r>
            <a:rPr lang="pt-BR" sz="1200" kern="1200" dirty="0" smtClean="0">
              <a:latin typeface="Simplon BP Regular" pitchFamily="2" charset="0"/>
            </a:rPr>
            <a:t> e </a:t>
          </a:r>
          <a:r>
            <a:rPr lang="pt-BR" sz="1200" kern="1200" dirty="0" err="1" smtClean="0">
              <a:latin typeface="Simplon BP Regular" pitchFamily="2" charset="0"/>
            </a:rPr>
            <a:t>Kick</a:t>
          </a:r>
          <a:r>
            <a:rPr lang="pt-BR" sz="1200" kern="1200" dirty="0" smtClean="0">
              <a:latin typeface="Simplon BP Regular" pitchFamily="2" charset="0"/>
            </a:rPr>
            <a:t>-off Programa 1</a:t>
          </a:r>
          <a:endParaRPr lang="pt-BR" sz="1200" kern="1200" dirty="0">
            <a:latin typeface="Simplon BP Regular" pitchFamily="2" charset="0"/>
          </a:endParaRPr>
        </a:p>
      </dsp:txBody>
      <dsp:txXfrm>
        <a:off x="2524067" y="2797143"/>
        <a:ext cx="1208550" cy="582717"/>
      </dsp:txXfrm>
    </dsp:sp>
    <dsp:sp modelId="{0566B732-D545-48BE-881E-52A791DA4ABA}">
      <dsp:nvSpPr>
        <dsp:cNvPr id="0" name=""/>
        <dsp:cNvSpPr/>
      </dsp:nvSpPr>
      <dsp:spPr>
        <a:xfrm rot="17700000">
          <a:off x="3280691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3882987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278988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rograma 1 Cadastro/Subscrição e Score externo</a:t>
          </a:r>
          <a:endParaRPr lang="pt-BR" sz="1200" kern="1200" dirty="0">
            <a:latin typeface="Simplon BP Regular" pitchFamily="2" charset="0"/>
          </a:endParaRPr>
        </a:p>
      </dsp:txBody>
      <dsp:txXfrm>
        <a:off x="4278988" y="798764"/>
        <a:ext cx="1397092" cy="673290"/>
      </dsp:txXfrm>
    </dsp:sp>
    <dsp:sp modelId="{8DBDFD54-FA06-4E78-B1F9-B5C24B106AA5}">
      <dsp:nvSpPr>
        <dsp:cNvPr id="0" name=""/>
        <dsp:cNvSpPr/>
      </dsp:nvSpPr>
      <dsp:spPr>
        <a:xfrm>
          <a:off x="5091509" y="1985200"/>
          <a:ext cx="583358" cy="583358"/>
        </a:xfrm>
        <a:prstGeom prst="ellipse">
          <a:avLst/>
        </a:prstGeom>
        <a:solidFill>
          <a:schemeClr val="accent6">
            <a:shade val="80000"/>
            <a:hueOff val="217796"/>
            <a:satOff val="-14825"/>
            <a:lumOff val="175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4006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V off-line</a:t>
          </a:r>
          <a:endParaRPr lang="pt-BR" sz="1200" kern="1200" dirty="0">
            <a:latin typeface="Simplon BP Regular" pitchFamily="2" charset="0"/>
          </a:endParaRPr>
        </a:p>
      </dsp:txBody>
      <dsp:txXfrm>
        <a:off x="4400600" y="2797143"/>
        <a:ext cx="1208550" cy="582717"/>
      </dsp:txXfrm>
    </dsp:sp>
    <dsp:sp modelId="{B8523729-5ED9-4781-9993-ED44EE714E76}">
      <dsp:nvSpPr>
        <dsp:cNvPr id="0" name=""/>
        <dsp:cNvSpPr/>
      </dsp:nvSpPr>
      <dsp:spPr>
        <a:xfrm rot="17700000">
          <a:off x="5157225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5759431" y="1985200"/>
          <a:ext cx="583358" cy="583358"/>
        </a:xfrm>
        <a:prstGeom prst="ellipse">
          <a:avLst/>
        </a:prstGeom>
        <a:solidFill>
          <a:schemeClr val="accent6">
            <a:shade val="80000"/>
            <a:hueOff val="272245"/>
            <a:satOff val="-18531"/>
            <a:lumOff val="2192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068523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2P Fixo R1/R2 e Velox</a:t>
          </a:r>
          <a:endParaRPr lang="pt-BR" sz="1200" kern="1200" dirty="0">
            <a:latin typeface="Simplon BP Regular" pitchFamily="2" charset="0"/>
          </a:endParaRPr>
        </a:p>
      </dsp:txBody>
      <dsp:txXfrm>
        <a:off x="5068523" y="2797143"/>
        <a:ext cx="1208550" cy="582717"/>
      </dsp:txXfrm>
    </dsp:sp>
    <dsp:sp modelId="{9D3D5B97-3DE5-4600-B2D0-2F52A3508BAB}">
      <dsp:nvSpPr>
        <dsp:cNvPr id="0" name=""/>
        <dsp:cNvSpPr/>
      </dsp:nvSpPr>
      <dsp:spPr>
        <a:xfrm rot="17700000">
          <a:off x="58251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4273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326694"/>
            <a:satOff val="-22237"/>
            <a:lumOff val="263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57364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3P - TV Online</a:t>
          </a:r>
          <a:endParaRPr lang="pt-BR" sz="1200" kern="1200" dirty="0">
            <a:latin typeface="Simplon BP Regular" pitchFamily="2" charset="0"/>
          </a:endParaRPr>
        </a:p>
      </dsp:txBody>
      <dsp:txXfrm>
        <a:off x="5736445" y="2797143"/>
        <a:ext cx="1208550" cy="582717"/>
      </dsp:txXfrm>
    </dsp:sp>
    <dsp:sp modelId="{2BF1D30D-A645-461B-8B53-6D37647F8F3F}">
      <dsp:nvSpPr>
        <dsp:cNvPr id="0" name=""/>
        <dsp:cNvSpPr/>
      </dsp:nvSpPr>
      <dsp:spPr>
        <a:xfrm rot="17700000">
          <a:off x="6493070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095276" y="1985200"/>
          <a:ext cx="583358" cy="583358"/>
        </a:xfrm>
        <a:prstGeom prst="ellipse">
          <a:avLst/>
        </a:prstGeom>
        <a:solidFill>
          <a:schemeClr val="accent6">
            <a:shade val="80000"/>
            <a:hueOff val="381143"/>
            <a:satOff val="-25943"/>
            <a:lumOff val="30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404368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+ Móvel</a:t>
          </a:r>
          <a:endParaRPr lang="pt-BR" sz="1200" kern="1200" dirty="0">
            <a:latin typeface="Simplon BP Regular" pitchFamily="2" charset="0"/>
          </a:endParaRPr>
        </a:p>
      </dsp:txBody>
      <dsp:txXfrm>
        <a:off x="6404368" y="2797143"/>
        <a:ext cx="1208550" cy="582717"/>
      </dsp:txXfrm>
    </dsp:sp>
    <dsp:sp modelId="{0B76364A-724C-4D60-B742-8B2007D3D83F}">
      <dsp:nvSpPr>
        <dsp:cNvPr id="0" name=""/>
        <dsp:cNvSpPr/>
      </dsp:nvSpPr>
      <dsp:spPr>
        <a:xfrm rot="17700000">
          <a:off x="7160992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7763198" y="1985200"/>
          <a:ext cx="583358" cy="583358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707229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Móvel puro (</a:t>
          </a:r>
          <a:r>
            <a:rPr lang="pt-BR" sz="1200" kern="1200" dirty="0" err="1" smtClean="0">
              <a:latin typeface="Simplon BP Regular" pitchFamily="2" charset="0"/>
            </a:rPr>
            <a:t>pré</a:t>
          </a:r>
          <a:r>
            <a:rPr lang="pt-BR" sz="1200" kern="1200" dirty="0" smtClean="0">
              <a:latin typeface="Simplon BP Regular" pitchFamily="2" charset="0"/>
            </a:rPr>
            <a:t>/pós)</a:t>
          </a:r>
          <a:endParaRPr lang="pt-BR" sz="1200" kern="1200" dirty="0">
            <a:latin typeface="Simplon BP Regular" pitchFamily="2" charset="0"/>
          </a:endParaRPr>
        </a:p>
      </dsp:txBody>
      <dsp:txXfrm>
        <a:off x="7072290" y="2797143"/>
        <a:ext cx="1208550" cy="582717"/>
      </dsp:txXfrm>
    </dsp:sp>
    <dsp:sp modelId="{9F22E223-C03C-4A17-985E-B8945A116FFF}">
      <dsp:nvSpPr>
        <dsp:cNvPr id="0" name=""/>
        <dsp:cNvSpPr/>
      </dsp:nvSpPr>
      <dsp:spPr>
        <a:xfrm rot="17700000">
          <a:off x="782891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056" y="0"/>
          <a:ext cx="5819288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4284" y="0"/>
        <a:ext cx="5354832" cy="464456"/>
      </dsp:txXfrm>
    </dsp:sp>
    <dsp:sp modelId="{0550EBE2-3CC1-4770-9B02-DDFB5E793DEB}">
      <dsp:nvSpPr>
        <dsp:cNvPr id="0" name=""/>
        <dsp:cNvSpPr/>
      </dsp:nvSpPr>
      <dsp:spPr>
        <a:xfrm>
          <a:off x="5528182" y="0"/>
          <a:ext cx="3221876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5760410" y="0"/>
        <a:ext cx="2757420" cy="4644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011" y="0"/>
          <a:ext cx="3373373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Setup infra e SW base</a:t>
          </a:r>
          <a:endParaRPr lang="pt-BR" sz="1400" kern="1200" dirty="0">
            <a:latin typeface="Simplon BP Regular" pitchFamily="2" charset="0"/>
          </a:endParaRPr>
        </a:p>
      </dsp:txBody>
      <dsp:txXfrm>
        <a:off x="233239" y="0"/>
        <a:ext cx="2908917" cy="464456"/>
      </dsp:txXfrm>
    </dsp:sp>
    <dsp:sp modelId="{0550EBE2-3CC1-4770-9B02-DDFB5E793DEB}">
      <dsp:nvSpPr>
        <dsp:cNvPr id="0" name=""/>
        <dsp:cNvSpPr/>
      </dsp:nvSpPr>
      <dsp:spPr>
        <a:xfrm>
          <a:off x="3182292" y="0"/>
          <a:ext cx="2111127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Liberação de acessos </a:t>
          </a:r>
          <a:r>
            <a:rPr lang="pt-BR" sz="1400" kern="1200" dirty="0" err="1" smtClean="0">
              <a:latin typeface="Simplon BP Regular" pitchFamily="2" charset="0"/>
            </a:rPr>
            <a:t>SegInf</a:t>
          </a:r>
          <a:endParaRPr lang="pt-BR" sz="1400" kern="1200" dirty="0">
            <a:latin typeface="Simplon BP Regular" pitchFamily="2" charset="0"/>
          </a:endParaRPr>
        </a:p>
      </dsp:txBody>
      <dsp:txXfrm>
        <a:off x="3414520" y="0"/>
        <a:ext cx="1646671" cy="464456"/>
      </dsp:txXfrm>
    </dsp:sp>
    <dsp:sp modelId="{4B9CD59A-2F66-4026-8766-3B087A0BF111}">
      <dsp:nvSpPr>
        <dsp:cNvPr id="0" name=""/>
        <dsp:cNvSpPr/>
      </dsp:nvSpPr>
      <dsp:spPr>
        <a:xfrm>
          <a:off x="5101325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Instalação </a:t>
          </a:r>
          <a:r>
            <a:rPr lang="pt-BR" sz="1400" kern="1200" dirty="0" err="1" smtClean="0">
              <a:latin typeface="Simplon BP Regular" pitchFamily="2" charset="0"/>
            </a:rPr>
            <a:t>Vanila</a:t>
          </a:r>
          <a:r>
            <a:rPr lang="pt-BR" sz="1400" kern="1200" dirty="0" smtClean="0">
              <a:latin typeface="Simplon BP Regular" pitchFamily="2" charset="0"/>
            </a:rPr>
            <a:t> RAID-FMS</a:t>
          </a:r>
          <a:endParaRPr lang="pt-BR" sz="1400" kern="1200" dirty="0">
            <a:latin typeface="Simplon BP Regular" pitchFamily="2" charset="0"/>
          </a:endParaRPr>
        </a:p>
      </dsp:txBody>
      <dsp:txXfrm>
        <a:off x="5333553" y="0"/>
        <a:ext cx="1456479" cy="464456"/>
      </dsp:txXfrm>
    </dsp:sp>
    <dsp:sp modelId="{6BF36520-8AA0-4A43-B331-55C5B7C98C9D}">
      <dsp:nvSpPr>
        <dsp:cNvPr id="0" name=""/>
        <dsp:cNvSpPr/>
      </dsp:nvSpPr>
      <dsp:spPr>
        <a:xfrm>
          <a:off x="6830167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Planejamento </a:t>
          </a:r>
          <a:r>
            <a:rPr lang="pt-BR" sz="1400" kern="1200" dirty="0" err="1" smtClean="0">
              <a:latin typeface="Simplon BP Regular" pitchFamily="2" charset="0"/>
            </a:rPr>
            <a:t>scoping</a:t>
          </a:r>
          <a:r>
            <a:rPr lang="pt-BR" sz="1400" kern="1200" dirty="0" smtClean="0">
              <a:latin typeface="Simplon BP Regular" pitchFamily="2" charset="0"/>
            </a:rPr>
            <a:t> de ondas</a:t>
          </a:r>
          <a:endParaRPr lang="pt-BR" sz="1400" kern="1200" dirty="0">
            <a:latin typeface="Simplon BP Regular" pitchFamily="2" charset="0"/>
          </a:endParaRPr>
        </a:p>
      </dsp:txBody>
      <dsp:txXfrm>
        <a:off x="7062395" y="0"/>
        <a:ext cx="1456479" cy="4644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9/2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9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9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3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8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9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5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5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9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15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61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785558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25 de SETEMBR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335149" y="4118698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ndrino Soar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driana Dias 3con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/Fabi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Placido Cavalcante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221884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Unidade de Vend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lavio de Jesu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Intel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Eduardo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/Antoni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Marcio Cesar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</a:t>
            </a: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2679082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Rectangle 30"/>
          <p:cNvSpPr/>
          <p:nvPr/>
        </p:nvSpPr>
        <p:spPr>
          <a:xfrm>
            <a:off x="5983885" y="446496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 anchorCtr="1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Acess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maury Arauj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3256109" y="3924200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ML Releas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abrina Mota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ctangle 36"/>
          <p:cNvSpPr/>
          <p:nvPr/>
        </p:nvSpPr>
        <p:spPr>
          <a:xfrm>
            <a:off x="1935357" y="3128939"/>
            <a:ext cx="1268698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r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FE43F0-B2E4-4B8F-BB5D-28B2EAB90953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95544</TotalTime>
  <Words>1275</Words>
  <Application>Microsoft Office PowerPoint</Application>
  <PresentationFormat>Apresentação na tela (16:9)</PresentationFormat>
  <Paragraphs>268</Paragraphs>
  <Slides>20</Slides>
  <Notes>3</Notes>
  <HiddenSlides>6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71</cp:revision>
  <cp:lastPrinted>2017-06-29T22:57:16Z</cp:lastPrinted>
  <dcterms:created xsi:type="dcterms:W3CDTF">2013-05-14T05:19:21Z</dcterms:created>
  <dcterms:modified xsi:type="dcterms:W3CDTF">2017-10-02T15:0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